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3"/>
  </p:notesMasterIdLst>
  <p:sldIdLst>
    <p:sldId id="261" r:id="rId2"/>
  </p:sldIdLst>
  <p:sldSz cx="7556500" cy="10693400"/>
  <p:notesSz cx="6858000" cy="9144000"/>
  <p:embeddedFontLst>
    <p:embeddedFont>
      <p:font typeface="Poppins" panose="00000500000000000000" pitchFamily="2" charset="0"/>
      <p:regular r:id="rId4"/>
      <p:bold r:id="rId5"/>
      <p:italic r:id="rId6"/>
      <p:boldItalic r:id="rId7"/>
    </p:embeddedFont>
    <p:embeddedFont>
      <p:font typeface="Poppins SemiBold" panose="00000700000000000000" pitchFamily="2" charset="0"/>
      <p:bold r:id="rId8"/>
      <p:boldItalic r:id="rId9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1601B"/>
    <a:srgbClr val="623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991" autoAdjust="0"/>
    <p:restoredTop sz="94622" autoAdjust="0"/>
  </p:normalViewPr>
  <p:slideViewPr>
    <p:cSldViewPr>
      <p:cViewPr varScale="1">
        <p:scale>
          <a:sx n="68" d="100"/>
          <a:sy n="68" d="100"/>
        </p:scale>
        <p:origin x="2550" y="4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5.fntdata"/><Relationship Id="rId13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font" Target="fonts/font4.fntdata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3.fntdata"/><Relationship Id="rId11" Type="http://schemas.openxmlformats.org/officeDocument/2006/relationships/viewProps" Target="viewProps.xml"/><Relationship Id="rId5" Type="http://schemas.openxmlformats.org/officeDocument/2006/relationships/font" Target="fonts/font2.fntdata"/><Relationship Id="rId10" Type="http://schemas.openxmlformats.org/officeDocument/2006/relationships/presProps" Target="presProps.xml"/><Relationship Id="rId4" Type="http://schemas.openxmlformats.org/officeDocument/2006/relationships/font" Target="fonts/font1.fntdata"/><Relationship Id="rId9" Type="http://schemas.openxmlformats.org/officeDocument/2006/relationships/font" Target="fonts/font6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1E87CD-268C-4F61-8DAC-4047957DD71E}" type="datetimeFigureOut">
              <a:rPr lang="en-US" smtClean="0"/>
              <a:t>7/12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38388" y="1143000"/>
            <a:ext cx="21812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D19912-FAE0-4520-84F7-5AC39C2E5D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74033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7/1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" name="Donation #3">
            <a:extLst>
              <a:ext uri="{FF2B5EF4-FFF2-40B4-BE49-F238E27FC236}">
                <a16:creationId xmlns:a16="http://schemas.microsoft.com/office/drawing/2014/main" id="{E4761362-6AE8-031C-B6FD-81FDB14A22E1}"/>
              </a:ext>
            </a:extLst>
          </p:cNvPr>
          <p:cNvGrpSpPr/>
          <p:nvPr/>
        </p:nvGrpSpPr>
        <p:grpSpPr>
          <a:xfrm>
            <a:off x="-87326" y="366034"/>
            <a:ext cx="7726505" cy="12002164"/>
            <a:chOff x="-87326" y="366034"/>
            <a:chExt cx="7726505" cy="12002164"/>
          </a:xfrm>
        </p:grpSpPr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D2AA6C7C-2B08-493F-5989-A76CDAFEB9C7}"/>
                </a:ext>
              </a:extLst>
            </p:cNvPr>
            <p:cNvGrpSpPr/>
            <p:nvPr/>
          </p:nvGrpSpPr>
          <p:grpSpPr>
            <a:xfrm>
              <a:off x="-87326" y="7925583"/>
              <a:ext cx="7726505" cy="4442615"/>
              <a:chOff x="-87326" y="7925583"/>
              <a:chExt cx="7726505" cy="4442615"/>
            </a:xfrm>
          </p:grpSpPr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370FC193-6250-7233-1CDE-5C5066FFF8F9}"/>
                  </a:ext>
                </a:extLst>
              </p:cNvPr>
              <p:cNvSpPr/>
              <p:nvPr/>
            </p:nvSpPr>
            <p:spPr>
              <a:xfrm rot="-8367765" flipV="1">
                <a:off x="-87326" y="7925583"/>
                <a:ext cx="1436055" cy="3407657"/>
              </a:xfrm>
              <a:custGeom>
                <a:avLst/>
                <a:gdLst>
                  <a:gd name="connsiteX0" fmla="*/ 1436055 w 1436055"/>
                  <a:gd name="connsiteY0" fmla="*/ 2949641 h 3407657"/>
                  <a:gd name="connsiteX1" fmla="*/ 1044357 w 1436055"/>
                  <a:gd name="connsiteY1" fmla="*/ 3407657 h 3407657"/>
                  <a:gd name="connsiteX2" fmla="*/ 1436055 w 1436055"/>
                  <a:gd name="connsiteY2" fmla="*/ 3407657 h 3407657"/>
                  <a:gd name="connsiteX3" fmla="*/ 1436055 w 1436055"/>
                  <a:gd name="connsiteY3" fmla="*/ 0 h 3407657"/>
                  <a:gd name="connsiteX4" fmla="*/ 0 w 1436055"/>
                  <a:gd name="connsiteY4" fmla="*/ 0 h 3407657"/>
                  <a:gd name="connsiteX5" fmla="*/ 0 w 1436055"/>
                  <a:gd name="connsiteY5" fmla="*/ 3407657 h 3407657"/>
                  <a:gd name="connsiteX6" fmla="*/ 268468 w 1436055"/>
                  <a:gd name="connsiteY6" fmla="*/ 3407657 h 3407657"/>
                  <a:gd name="connsiteX7" fmla="*/ 171276 w 1436055"/>
                  <a:gd name="connsiteY7" fmla="*/ 3324538 h 3407657"/>
                  <a:gd name="connsiteX8" fmla="*/ 369378 w 1436055"/>
                  <a:gd name="connsiteY8" fmla="*/ 3092895 h 3407657"/>
                  <a:gd name="connsiteX9" fmla="*/ 212537 w 1436055"/>
                  <a:gd name="connsiteY9" fmla="*/ 2958763 h 3407657"/>
                  <a:gd name="connsiteX10" fmla="*/ 352859 w 1436055"/>
                  <a:gd name="connsiteY10" fmla="*/ 2794683 h 3407657"/>
                  <a:gd name="connsiteX11" fmla="*/ 509701 w 1436055"/>
                  <a:gd name="connsiteY11" fmla="*/ 2928814 h 3407657"/>
                  <a:gd name="connsiteX12" fmla="*/ 1013211 w 1436055"/>
                  <a:gd name="connsiteY12" fmla="*/ 2340055 h 3407657"/>
                  <a:gd name="connsiteX13" fmla="*/ 1436055 w 1436055"/>
                  <a:gd name="connsiteY13" fmla="*/ 2701673 h 3407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36055" h="3407657">
                    <a:moveTo>
                      <a:pt x="1436055" y="2949641"/>
                    </a:moveTo>
                    <a:lnTo>
                      <a:pt x="1044357" y="3407657"/>
                    </a:lnTo>
                    <a:lnTo>
                      <a:pt x="1436055" y="3407657"/>
                    </a:lnTo>
                    <a:close/>
                    <a:moveTo>
                      <a:pt x="1436055" y="0"/>
                    </a:moveTo>
                    <a:lnTo>
                      <a:pt x="0" y="0"/>
                    </a:lnTo>
                    <a:lnTo>
                      <a:pt x="0" y="3407657"/>
                    </a:lnTo>
                    <a:lnTo>
                      <a:pt x="268468" y="3407657"/>
                    </a:lnTo>
                    <a:lnTo>
                      <a:pt x="171276" y="3324538"/>
                    </a:lnTo>
                    <a:lnTo>
                      <a:pt x="369378" y="3092895"/>
                    </a:lnTo>
                    <a:lnTo>
                      <a:pt x="212537" y="2958763"/>
                    </a:lnTo>
                    <a:lnTo>
                      <a:pt x="352859" y="2794683"/>
                    </a:lnTo>
                    <a:lnTo>
                      <a:pt x="509701" y="2928814"/>
                    </a:lnTo>
                    <a:lnTo>
                      <a:pt x="1013211" y="2340055"/>
                    </a:lnTo>
                    <a:lnTo>
                      <a:pt x="1436055" y="2701673"/>
                    </a:lnTo>
                    <a:close/>
                  </a:path>
                </a:pathLst>
              </a:custGeom>
              <a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F0B1860A-225F-AE06-7233-ADC04A1B4A41}"/>
                  </a:ext>
                </a:extLst>
              </p:cNvPr>
              <p:cNvSpPr/>
              <p:nvPr/>
            </p:nvSpPr>
            <p:spPr>
              <a:xfrm rot="8369999" flipH="1" flipV="1">
                <a:off x="6203123" y="7986635"/>
                <a:ext cx="1436056" cy="3407657"/>
              </a:xfrm>
              <a:custGeom>
                <a:avLst/>
                <a:gdLst>
                  <a:gd name="connsiteX0" fmla="*/ 1436056 w 1436056"/>
                  <a:gd name="connsiteY0" fmla="*/ 3166205 h 3407657"/>
                  <a:gd name="connsiteX1" fmla="*/ 1436056 w 1436056"/>
                  <a:gd name="connsiteY1" fmla="*/ 3407657 h 3407657"/>
                  <a:gd name="connsiteX2" fmla="*/ 1229837 w 1436056"/>
                  <a:gd name="connsiteY2" fmla="*/ 3407657 h 3407657"/>
                  <a:gd name="connsiteX3" fmla="*/ 1436056 w 1436056"/>
                  <a:gd name="connsiteY3" fmla="*/ 0 h 3407657"/>
                  <a:gd name="connsiteX4" fmla="*/ 1436056 w 1436056"/>
                  <a:gd name="connsiteY4" fmla="*/ 2316605 h 3407657"/>
                  <a:gd name="connsiteX5" fmla="*/ 1203198 w 1436056"/>
                  <a:gd name="connsiteY5" fmla="*/ 2117725 h 3407657"/>
                  <a:gd name="connsiteX6" fmla="*/ 551607 w 1436056"/>
                  <a:gd name="connsiteY6" fmla="*/ 2880641 h 3407657"/>
                  <a:gd name="connsiteX7" fmla="*/ 384417 w 1436056"/>
                  <a:gd name="connsiteY7" fmla="*/ 2737846 h 3407657"/>
                  <a:gd name="connsiteX8" fmla="*/ 194713 w 1436056"/>
                  <a:gd name="connsiteY8" fmla="*/ 2959961 h 3407657"/>
                  <a:gd name="connsiteX9" fmla="*/ 361903 w 1436056"/>
                  <a:gd name="connsiteY9" fmla="*/ 3102755 h 3407657"/>
                  <a:gd name="connsiteX10" fmla="*/ 101492 w 1436056"/>
                  <a:gd name="connsiteY10" fmla="*/ 3407657 h 3407657"/>
                  <a:gd name="connsiteX11" fmla="*/ 0 w 1436056"/>
                  <a:gd name="connsiteY11" fmla="*/ 3407657 h 3407657"/>
                  <a:gd name="connsiteX12" fmla="*/ 0 w 1436056"/>
                  <a:gd name="connsiteY12" fmla="*/ 0 h 3407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36056" h="3407657">
                    <a:moveTo>
                      <a:pt x="1436056" y="3166205"/>
                    </a:moveTo>
                    <a:lnTo>
                      <a:pt x="1436056" y="3407657"/>
                    </a:lnTo>
                    <a:lnTo>
                      <a:pt x="1229837" y="3407657"/>
                    </a:lnTo>
                    <a:close/>
                    <a:moveTo>
                      <a:pt x="1436056" y="0"/>
                    </a:moveTo>
                    <a:lnTo>
                      <a:pt x="1436056" y="2316605"/>
                    </a:lnTo>
                    <a:lnTo>
                      <a:pt x="1203198" y="2117725"/>
                    </a:lnTo>
                    <a:lnTo>
                      <a:pt x="551607" y="2880641"/>
                    </a:lnTo>
                    <a:lnTo>
                      <a:pt x="384417" y="2737846"/>
                    </a:lnTo>
                    <a:lnTo>
                      <a:pt x="194713" y="2959961"/>
                    </a:lnTo>
                    <a:lnTo>
                      <a:pt x="361903" y="3102755"/>
                    </a:lnTo>
                    <a:lnTo>
                      <a:pt x="101492" y="3407657"/>
                    </a:lnTo>
                    <a:lnTo>
                      <a:pt x="0" y="3407657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3E816038-76E6-6146-C6FE-DF6F34C942A8}"/>
                  </a:ext>
                </a:extLst>
              </p:cNvPr>
              <p:cNvSpPr/>
              <p:nvPr/>
            </p:nvSpPr>
            <p:spPr>
              <a:xfrm rot="378000">
                <a:off x="3890155" y="8596085"/>
                <a:ext cx="1156841" cy="3772113"/>
              </a:xfrm>
              <a:custGeom>
                <a:avLst/>
                <a:gdLst>
                  <a:gd name="connsiteX0" fmla="*/ 0 w 1156841"/>
                  <a:gd name="connsiteY0" fmla="*/ 0 h 3772113"/>
                  <a:gd name="connsiteX1" fmla="*/ 1156841 w 1156841"/>
                  <a:gd name="connsiteY1" fmla="*/ 0 h 3772113"/>
                  <a:gd name="connsiteX2" fmla="*/ 1156841 w 1156841"/>
                  <a:gd name="connsiteY2" fmla="*/ 3127183 h 3772113"/>
                  <a:gd name="connsiteX3" fmla="*/ 1037687 w 1156841"/>
                  <a:gd name="connsiteY3" fmla="*/ 2047895 h 3772113"/>
                  <a:gd name="connsiteX4" fmla="*/ 128808 w 1156841"/>
                  <a:gd name="connsiteY4" fmla="*/ 2148236 h 3772113"/>
                  <a:gd name="connsiteX5" fmla="*/ 308086 w 1156841"/>
                  <a:gd name="connsiteY5" fmla="*/ 3772113 h 3772113"/>
                  <a:gd name="connsiteX6" fmla="*/ 0 w 1156841"/>
                  <a:gd name="connsiteY6" fmla="*/ 3772113 h 3772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56841" h="3772113">
                    <a:moveTo>
                      <a:pt x="0" y="0"/>
                    </a:moveTo>
                    <a:lnTo>
                      <a:pt x="1156841" y="0"/>
                    </a:lnTo>
                    <a:lnTo>
                      <a:pt x="1156841" y="3127183"/>
                    </a:lnTo>
                    <a:lnTo>
                      <a:pt x="1037687" y="2047895"/>
                    </a:lnTo>
                    <a:lnTo>
                      <a:pt x="128808" y="2148236"/>
                    </a:lnTo>
                    <a:lnTo>
                      <a:pt x="308086" y="3772113"/>
                    </a:lnTo>
                    <a:lnTo>
                      <a:pt x="0" y="3772113"/>
                    </a:lnTo>
                    <a:close/>
                  </a:path>
                </a:pathLst>
              </a:custGeom>
              <a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8842CE5B-BA84-2F26-4263-C937F13C7EE8}"/>
                  </a:ext>
                </a:extLst>
              </p:cNvPr>
              <p:cNvSpPr/>
              <p:nvPr/>
            </p:nvSpPr>
            <p:spPr>
              <a:xfrm rot="-379206" flipH="1">
                <a:off x="2514081" y="8596085"/>
                <a:ext cx="1156841" cy="3772113"/>
              </a:xfrm>
              <a:custGeom>
                <a:avLst/>
                <a:gdLst>
                  <a:gd name="connsiteX0" fmla="*/ 1156841 w 1156841"/>
                  <a:gd name="connsiteY0" fmla="*/ 3771985 h 3772113"/>
                  <a:gd name="connsiteX1" fmla="*/ 1155679 w 1156841"/>
                  <a:gd name="connsiteY1" fmla="*/ 3772113 h 3772113"/>
                  <a:gd name="connsiteX2" fmla="*/ 1156841 w 1156841"/>
                  <a:gd name="connsiteY2" fmla="*/ 3772113 h 3772113"/>
                  <a:gd name="connsiteX3" fmla="*/ 0 w 1156841"/>
                  <a:gd name="connsiteY3" fmla="*/ 0 h 3772113"/>
                  <a:gd name="connsiteX4" fmla="*/ 0 w 1156841"/>
                  <a:gd name="connsiteY4" fmla="*/ 3772113 h 3772113"/>
                  <a:gd name="connsiteX5" fmla="*/ 327369 w 1156841"/>
                  <a:gd name="connsiteY5" fmla="*/ 3772113 h 3772113"/>
                  <a:gd name="connsiteX6" fmla="*/ 147306 w 1156841"/>
                  <a:gd name="connsiteY6" fmla="*/ 2146355 h 3772113"/>
                  <a:gd name="connsiteX7" fmla="*/ 1056150 w 1156841"/>
                  <a:gd name="connsiteY7" fmla="*/ 2045695 h 3772113"/>
                  <a:gd name="connsiteX8" fmla="*/ 1156841 w 1156841"/>
                  <a:gd name="connsiteY8" fmla="*/ 2954818 h 3772113"/>
                  <a:gd name="connsiteX9" fmla="*/ 1156841 w 1156841"/>
                  <a:gd name="connsiteY9" fmla="*/ 0 h 3772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56841" h="3772113">
                    <a:moveTo>
                      <a:pt x="1156841" y="3771985"/>
                    </a:moveTo>
                    <a:lnTo>
                      <a:pt x="1155679" y="3772113"/>
                    </a:lnTo>
                    <a:lnTo>
                      <a:pt x="1156841" y="3772113"/>
                    </a:lnTo>
                    <a:close/>
                    <a:moveTo>
                      <a:pt x="0" y="0"/>
                    </a:moveTo>
                    <a:lnTo>
                      <a:pt x="0" y="3772113"/>
                    </a:lnTo>
                    <a:lnTo>
                      <a:pt x="327369" y="3772113"/>
                    </a:lnTo>
                    <a:lnTo>
                      <a:pt x="147306" y="2146355"/>
                    </a:lnTo>
                    <a:lnTo>
                      <a:pt x="1056150" y="2045695"/>
                    </a:lnTo>
                    <a:lnTo>
                      <a:pt x="1156841" y="2954818"/>
                    </a:lnTo>
                    <a:lnTo>
                      <a:pt x="1156841" y="0"/>
                    </a:lnTo>
                    <a:close/>
                  </a:path>
                </a:pathLst>
              </a:custGeom>
              <a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437470C4-5F48-F48A-16DB-A7BB26EF4EBE}"/>
                </a:ext>
              </a:extLst>
            </p:cNvPr>
            <p:cNvGrpSpPr/>
            <p:nvPr/>
          </p:nvGrpSpPr>
          <p:grpSpPr>
            <a:xfrm>
              <a:off x="279825" y="1574462"/>
              <a:ext cx="6996850" cy="6594858"/>
              <a:chOff x="279825" y="1574462"/>
              <a:chExt cx="6996850" cy="6594858"/>
            </a:xfrm>
          </p:grpSpPr>
          <p:sp>
            <p:nvSpPr>
              <p:cNvPr id="11" name="Freeform 11"/>
              <p:cNvSpPr/>
              <p:nvPr/>
            </p:nvSpPr>
            <p:spPr>
              <a:xfrm>
                <a:off x="279825" y="1574462"/>
                <a:ext cx="6996850" cy="6594858"/>
              </a:xfrm>
              <a:custGeom>
                <a:avLst/>
                <a:gdLst/>
                <a:ahLst/>
                <a:cxnLst/>
                <a:rect l="l" t="t" r="r" b="b"/>
                <a:pathLst>
                  <a:path w="2507513" h="2363448">
                    <a:moveTo>
                      <a:pt x="0" y="0"/>
                    </a:moveTo>
                    <a:lnTo>
                      <a:pt x="2507513" y="0"/>
                    </a:lnTo>
                    <a:lnTo>
                      <a:pt x="2507513" y="2363448"/>
                    </a:lnTo>
                    <a:lnTo>
                      <a:pt x="0" y="2363448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sq">
                <a:solidFill>
                  <a:srgbClr val="623959">
                    <a:alpha val="69804"/>
                  </a:srgbClr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4" name="Freeform 14"/>
              <p:cNvSpPr/>
              <p:nvPr/>
            </p:nvSpPr>
            <p:spPr>
              <a:xfrm>
                <a:off x="279825" y="1574462"/>
                <a:ext cx="6996850" cy="411073"/>
              </a:xfrm>
              <a:custGeom>
                <a:avLst/>
                <a:gdLst/>
                <a:ahLst/>
                <a:cxnLst/>
                <a:rect l="l" t="t" r="r" b="b"/>
                <a:pathLst>
                  <a:path w="2507513" h="147319">
                    <a:moveTo>
                      <a:pt x="0" y="0"/>
                    </a:moveTo>
                    <a:lnTo>
                      <a:pt x="2507513" y="0"/>
                    </a:lnTo>
                    <a:lnTo>
                      <a:pt x="2507513" y="147319"/>
                    </a:lnTo>
                    <a:lnTo>
                      <a:pt x="0" y="147319"/>
                    </a:lnTo>
                    <a:close/>
                  </a:path>
                </a:pathLst>
              </a:custGeom>
              <a:solidFill>
                <a:srgbClr val="E1601B"/>
              </a:solidFill>
              <a:ln w="9525" cap="sq">
                <a:solidFill>
                  <a:srgbClr val="623959">
                    <a:alpha val="50196"/>
                  </a:srgbClr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6" name="AutoShape 16"/>
              <p:cNvSpPr/>
              <p:nvPr/>
            </p:nvSpPr>
            <p:spPr>
              <a:xfrm>
                <a:off x="279825" y="2393025"/>
                <a:ext cx="6996850" cy="0"/>
              </a:xfrm>
              <a:prstGeom prst="line">
                <a:avLst/>
              </a:prstGeom>
              <a:ln w="9525" cap="flat">
                <a:solidFill>
                  <a:srgbClr val="623959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7" name="AutoShape 17"/>
              <p:cNvSpPr/>
              <p:nvPr/>
            </p:nvSpPr>
            <p:spPr>
              <a:xfrm>
                <a:off x="279825" y="2805277"/>
                <a:ext cx="6996850" cy="0"/>
              </a:xfrm>
              <a:prstGeom prst="line">
                <a:avLst/>
              </a:prstGeom>
              <a:ln w="9525" cap="flat">
                <a:solidFill>
                  <a:srgbClr val="623959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8" name="AutoShape 18"/>
              <p:cNvSpPr/>
              <p:nvPr/>
            </p:nvSpPr>
            <p:spPr>
              <a:xfrm>
                <a:off x="279825" y="3217529"/>
                <a:ext cx="6996850" cy="0"/>
              </a:xfrm>
              <a:prstGeom prst="line">
                <a:avLst/>
              </a:prstGeom>
              <a:ln w="9525" cap="flat">
                <a:solidFill>
                  <a:srgbClr val="623959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9" name="AutoShape 19"/>
              <p:cNvSpPr/>
              <p:nvPr/>
            </p:nvSpPr>
            <p:spPr>
              <a:xfrm>
                <a:off x="279825" y="3629782"/>
                <a:ext cx="6996850" cy="0"/>
              </a:xfrm>
              <a:prstGeom prst="line">
                <a:avLst/>
              </a:prstGeom>
              <a:ln w="9525" cap="flat">
                <a:solidFill>
                  <a:srgbClr val="623959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0" name="AutoShape 20"/>
              <p:cNvSpPr/>
              <p:nvPr/>
            </p:nvSpPr>
            <p:spPr>
              <a:xfrm>
                <a:off x="279825" y="4042034"/>
                <a:ext cx="6996850" cy="0"/>
              </a:xfrm>
              <a:prstGeom prst="line">
                <a:avLst/>
              </a:prstGeom>
              <a:ln w="9525" cap="flat">
                <a:solidFill>
                  <a:srgbClr val="623959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1" name="AutoShape 21"/>
              <p:cNvSpPr/>
              <p:nvPr/>
            </p:nvSpPr>
            <p:spPr>
              <a:xfrm>
                <a:off x="279825" y="4454286"/>
                <a:ext cx="6996850" cy="0"/>
              </a:xfrm>
              <a:prstGeom prst="line">
                <a:avLst/>
              </a:prstGeom>
              <a:ln w="9525" cap="flat">
                <a:solidFill>
                  <a:srgbClr val="623959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2" name="AutoShape 22"/>
              <p:cNvSpPr/>
              <p:nvPr/>
            </p:nvSpPr>
            <p:spPr>
              <a:xfrm>
                <a:off x="279825" y="4866539"/>
                <a:ext cx="6996850" cy="0"/>
              </a:xfrm>
              <a:prstGeom prst="line">
                <a:avLst/>
              </a:prstGeom>
              <a:ln w="9525" cap="flat">
                <a:solidFill>
                  <a:srgbClr val="623959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3" name="AutoShape 23"/>
              <p:cNvSpPr/>
              <p:nvPr/>
            </p:nvSpPr>
            <p:spPr>
              <a:xfrm>
                <a:off x="279825" y="5278791"/>
                <a:ext cx="6996850" cy="0"/>
              </a:xfrm>
              <a:prstGeom prst="line">
                <a:avLst/>
              </a:prstGeom>
              <a:ln w="9525" cap="flat">
                <a:solidFill>
                  <a:srgbClr val="623959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4" name="AutoShape 24"/>
              <p:cNvSpPr/>
              <p:nvPr/>
            </p:nvSpPr>
            <p:spPr>
              <a:xfrm>
                <a:off x="279825" y="5691044"/>
                <a:ext cx="6996850" cy="0"/>
              </a:xfrm>
              <a:prstGeom prst="line">
                <a:avLst/>
              </a:prstGeom>
              <a:ln w="9525" cap="flat">
                <a:solidFill>
                  <a:srgbClr val="623959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5" name="AutoShape 25"/>
              <p:cNvSpPr/>
              <p:nvPr/>
            </p:nvSpPr>
            <p:spPr>
              <a:xfrm>
                <a:off x="279825" y="6103296"/>
                <a:ext cx="6996850" cy="0"/>
              </a:xfrm>
              <a:prstGeom prst="line">
                <a:avLst/>
              </a:prstGeom>
              <a:ln w="9525" cap="flat">
                <a:solidFill>
                  <a:srgbClr val="623959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6" name="AutoShape 26"/>
              <p:cNvSpPr/>
              <p:nvPr/>
            </p:nvSpPr>
            <p:spPr>
              <a:xfrm>
                <a:off x="279825" y="6515548"/>
                <a:ext cx="6996850" cy="0"/>
              </a:xfrm>
              <a:prstGeom prst="line">
                <a:avLst/>
              </a:prstGeom>
              <a:ln w="9525" cap="flat">
                <a:solidFill>
                  <a:srgbClr val="623959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7" name="AutoShape 27"/>
              <p:cNvSpPr/>
              <p:nvPr/>
            </p:nvSpPr>
            <p:spPr>
              <a:xfrm>
                <a:off x="279825" y="6927801"/>
                <a:ext cx="6996850" cy="0"/>
              </a:xfrm>
              <a:prstGeom prst="line">
                <a:avLst/>
              </a:prstGeom>
              <a:ln w="9525" cap="flat">
                <a:solidFill>
                  <a:srgbClr val="623959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8" name="AutoShape 28"/>
              <p:cNvSpPr/>
              <p:nvPr/>
            </p:nvSpPr>
            <p:spPr>
              <a:xfrm>
                <a:off x="279825" y="7340053"/>
                <a:ext cx="6996850" cy="0"/>
              </a:xfrm>
              <a:prstGeom prst="line">
                <a:avLst/>
              </a:prstGeom>
              <a:ln w="9525" cap="flat">
                <a:solidFill>
                  <a:srgbClr val="623959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9" name="AutoShape 29"/>
              <p:cNvSpPr/>
              <p:nvPr/>
            </p:nvSpPr>
            <p:spPr>
              <a:xfrm>
                <a:off x="279825" y="7752305"/>
                <a:ext cx="6996850" cy="0"/>
              </a:xfrm>
              <a:prstGeom prst="line">
                <a:avLst/>
              </a:prstGeom>
              <a:ln w="9525" cap="flat">
                <a:solidFill>
                  <a:srgbClr val="623959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0" name="AutoShape 30"/>
              <p:cNvSpPr/>
              <p:nvPr/>
            </p:nvSpPr>
            <p:spPr>
              <a:xfrm flipH="1">
                <a:off x="2723446" y="1574462"/>
                <a:ext cx="0" cy="6594858"/>
              </a:xfrm>
              <a:prstGeom prst="line">
                <a:avLst/>
              </a:prstGeom>
              <a:ln w="9525" cap="flat">
                <a:solidFill>
                  <a:srgbClr val="623959">
                    <a:alpha val="50196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1" name="AutoShape 31"/>
              <p:cNvSpPr/>
              <p:nvPr/>
            </p:nvSpPr>
            <p:spPr>
              <a:xfrm>
                <a:off x="4578788" y="1574462"/>
                <a:ext cx="0" cy="6594858"/>
              </a:xfrm>
              <a:prstGeom prst="line">
                <a:avLst/>
              </a:prstGeom>
              <a:ln w="9525" cap="flat">
                <a:solidFill>
                  <a:srgbClr val="623959">
                    <a:alpha val="50196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56" name="Text">
              <a:extLst>
                <a:ext uri="{FF2B5EF4-FFF2-40B4-BE49-F238E27FC236}">
                  <a16:creationId xmlns:a16="http://schemas.microsoft.com/office/drawing/2014/main" id="{62B0F584-09E0-9469-2018-98E39988C504}"/>
                </a:ext>
              </a:extLst>
            </p:cNvPr>
            <p:cNvGrpSpPr/>
            <p:nvPr/>
          </p:nvGrpSpPr>
          <p:grpSpPr>
            <a:xfrm>
              <a:off x="279825" y="366034"/>
              <a:ext cx="6996849" cy="1467825"/>
              <a:chOff x="279825" y="366034"/>
              <a:chExt cx="6996849" cy="1467825"/>
            </a:xfrm>
          </p:grpSpPr>
          <p:sp>
            <p:nvSpPr>
              <p:cNvPr id="34" name="Type of Donation"/>
              <p:cNvSpPr txBox="1"/>
              <p:nvPr/>
            </p:nvSpPr>
            <p:spPr>
              <a:xfrm>
                <a:off x="5536848" y="1726137"/>
                <a:ext cx="781767" cy="107722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/>
                <a:r>
                  <a:rPr lang="en-US" sz="700" b="1" dirty="0">
                    <a:solidFill>
                      <a:srgbClr val="FFFDED"/>
                    </a:solidFill>
                    <a:latin typeface="Poppins" panose="00000500000000000000" pitchFamily="2" charset="0"/>
                    <a:ea typeface="Poppins Bold"/>
                    <a:cs typeface="Poppins" panose="00000500000000000000" pitchFamily="2" charset="0"/>
                    <a:sym typeface="Poppins Bold"/>
                  </a:rPr>
                  <a:t>Type of Donation</a:t>
                </a:r>
              </a:p>
            </p:txBody>
          </p:sp>
          <p:sp>
            <p:nvSpPr>
              <p:cNvPr id="33" name="Phone"/>
              <p:cNvSpPr txBox="1"/>
              <p:nvPr/>
            </p:nvSpPr>
            <p:spPr>
              <a:xfrm>
                <a:off x="3505648" y="1726137"/>
                <a:ext cx="290939" cy="107722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/>
                <a:r>
                  <a:rPr lang="en-US" sz="700" b="1" dirty="0">
                    <a:solidFill>
                      <a:srgbClr val="FFFDED"/>
                    </a:solidFill>
                    <a:latin typeface="Poppins" panose="00000500000000000000" pitchFamily="2" charset="0"/>
                    <a:ea typeface="Poppins Bold"/>
                    <a:cs typeface="Poppins" panose="00000500000000000000" pitchFamily="2" charset="0"/>
                    <a:sym typeface="Poppins Bold"/>
                  </a:rPr>
                  <a:t>Phone</a:t>
                </a:r>
              </a:p>
            </p:txBody>
          </p:sp>
          <p:sp>
            <p:nvSpPr>
              <p:cNvPr id="32" name="Full name"/>
              <p:cNvSpPr txBox="1"/>
              <p:nvPr/>
            </p:nvSpPr>
            <p:spPr>
              <a:xfrm>
                <a:off x="1025326" y="1726137"/>
                <a:ext cx="952618" cy="107722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marL="0" lvl="0" indent="0" algn="ctr"/>
                <a:r>
                  <a:rPr lang="en-US" sz="700" b="1" dirty="0">
                    <a:solidFill>
                      <a:srgbClr val="FFFDED"/>
                    </a:solidFill>
                    <a:latin typeface="Poppins" panose="00000500000000000000" pitchFamily="2" charset="0"/>
                    <a:ea typeface="Poppins Bold"/>
                    <a:cs typeface="Poppins" panose="00000500000000000000" pitchFamily="2" charset="0"/>
                    <a:sym typeface="Poppins Bold"/>
                  </a:rPr>
                  <a:t>Full name</a:t>
                </a:r>
              </a:p>
            </p:txBody>
          </p:sp>
          <p:sp>
            <p:nvSpPr>
              <p:cNvPr id="8" name="CHARITY NAME"/>
              <p:cNvSpPr txBox="1"/>
              <p:nvPr/>
            </p:nvSpPr>
            <p:spPr>
              <a:xfrm>
                <a:off x="6118434" y="774099"/>
                <a:ext cx="1158240" cy="18466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r"/>
                <a:r>
                  <a:rPr lang="en-US" sz="1200" dirty="0">
                    <a:solidFill>
                      <a:srgbClr val="623959"/>
                    </a:solidFill>
                    <a:latin typeface="Poppins SemiBold" panose="00000700000000000000" pitchFamily="2" charset="0"/>
                    <a:ea typeface="Poppins Bold"/>
                    <a:cs typeface="Poppins SemiBold" panose="00000700000000000000" pitchFamily="2" charset="0"/>
                    <a:sym typeface="Poppins Bold"/>
                  </a:rPr>
                  <a:t>CHARITY NAME</a:t>
                </a:r>
              </a:p>
            </p:txBody>
          </p:sp>
          <p:sp>
            <p:nvSpPr>
              <p:cNvPr id="9" name="Donation9"/>
              <p:cNvSpPr txBox="1"/>
              <p:nvPr/>
            </p:nvSpPr>
            <p:spPr>
              <a:xfrm>
                <a:off x="1761826" y="366034"/>
                <a:ext cx="4032848" cy="107721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/>
                <a:r>
                  <a:rPr lang="en-US" sz="7000" b="1" spc="-405" dirty="0">
                    <a:solidFill>
                      <a:srgbClr val="E1601B"/>
                    </a:solidFill>
                    <a:latin typeface="Poppins" panose="00000500000000000000" pitchFamily="2" charset="0"/>
                    <a:ea typeface="Poppins Bold"/>
                    <a:cs typeface="Poppins" panose="00000500000000000000" pitchFamily="2" charset="0"/>
                    <a:sym typeface="Poppins Bold"/>
                  </a:rPr>
                  <a:t>Donation</a:t>
                </a:r>
              </a:p>
            </p:txBody>
          </p:sp>
          <p:sp>
            <p:nvSpPr>
              <p:cNvPr id="7" name="SIGN UP SHEET"/>
              <p:cNvSpPr txBox="1"/>
              <p:nvPr/>
            </p:nvSpPr>
            <p:spPr>
              <a:xfrm>
                <a:off x="279825" y="774099"/>
                <a:ext cx="1096804" cy="18466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/>
                <a:r>
                  <a:rPr lang="en-US" sz="1200" dirty="0">
                    <a:solidFill>
                      <a:srgbClr val="623959"/>
                    </a:solidFill>
                    <a:latin typeface="Poppins SemiBold" panose="00000700000000000000" pitchFamily="2" charset="0"/>
                    <a:ea typeface="Poppins Bold"/>
                    <a:cs typeface="Poppins SemiBold" panose="00000700000000000000" pitchFamily="2" charset="0"/>
                    <a:sym typeface="Poppins Bold"/>
                  </a:rPr>
                  <a:t>SIGN UP SHEET</a:t>
                </a:r>
              </a:p>
            </p:txBody>
          </p:sp>
        </p:grpSp>
        <p:sp>
          <p:nvSpPr>
            <p:cNvPr id="6" name="QuickSignup"/>
            <p:cNvSpPr/>
            <p:nvPr/>
          </p:nvSpPr>
          <p:spPr>
            <a:xfrm>
              <a:off x="3447798" y="9375815"/>
              <a:ext cx="660903" cy="133213"/>
            </a:xfrm>
            <a:custGeom>
              <a:avLst/>
              <a:gdLst/>
              <a:ahLst/>
              <a:cxnLst/>
              <a:rect l="l" t="t" r="r" b="b"/>
              <a:pathLst>
                <a:path w="660903" h="133213">
                  <a:moveTo>
                    <a:pt x="0" y="0"/>
                  </a:moveTo>
                  <a:lnTo>
                    <a:pt x="660902" y="0"/>
                  </a:lnTo>
                  <a:lnTo>
                    <a:pt x="660902" y="133213"/>
                  </a:lnTo>
                  <a:lnTo>
                    <a:pt x="0" y="13321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">
                <a:alphaModFix amt="70000"/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0</TotalTime>
  <Words>12</Words>
  <Application>Microsoft Office PowerPoint</Application>
  <PresentationFormat>Custom</PresentationFormat>
  <Paragraphs>6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Poppins</vt:lpstr>
      <vt:lpstr>Poppins SemiBold</vt:lpstr>
      <vt:lpstr>Arial</vt:lpstr>
      <vt:lpstr>Calibri</vt:lpstr>
      <vt:lpstr>Aptos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(Portrait)</dc:title>
  <dc:creator>Hoang Anh</dc:creator>
  <cp:lastModifiedBy>Hoang Anh</cp:lastModifiedBy>
  <cp:revision>35</cp:revision>
  <dcterms:created xsi:type="dcterms:W3CDTF">2006-08-16T00:00:00Z</dcterms:created>
  <dcterms:modified xsi:type="dcterms:W3CDTF">2024-07-12T04:29:26Z</dcterms:modified>
  <dc:identifier>DAGKpvvVIT8</dc:identifier>
</cp:coreProperties>
</file>